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C6D9DF5B-7111-4130-B9FA-F8306DB1D923}">
          <p14:sldIdLst>
            <p14:sldId id="2147475173"/>
            <p14:sldId id="2147475174"/>
            <p14:sldId id="2147475175"/>
            <p14:sldId id="2147475176"/>
            <p14:sldId id="2147475177"/>
            <p14:sldId id="2147475178"/>
            <p14:sldId id="2147475179"/>
            <p14:sldId id="2147475180"/>
            <p14:sldId id="2147475181"/>
          </p14:sldIdLst>
        </p14:section>
        <p14:section name="Brackets By Segment" id="{7B504040-AE33-46DB-B04B-FA52B5AD321E}">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6107161449636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4117800657815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331774394747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252666708923879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243143706630065</c:v>
                </c:pt>
                <c:pt idx="3">
                  <c:v>0.2260389643669736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6403288762380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8837878352032929</c:v>
                </c:pt>
                <c:pt idx="3">
                  <c:v>0.171643966262853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5402418694581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963889211453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637810662335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040239367488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986055658869046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40071337855301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464146646873495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4678207581361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77329752102114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5218122713414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6238663212041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390556886663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667963665660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452990912804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05629209293432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8512396746636001</c:v>
                </c:pt>
                <c:pt idx="3">
                  <c:v>0.191168411063631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849496097085479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172319219122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41603372774214</c:v>
                </c:pt>
                <c:pt idx="3">
                  <c:v>0.146900773900823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1811366437503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6107161449636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6874770150930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331774394747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243143706630065</c:v>
                </c:pt>
                <c:pt idx="3">
                  <c:v>0.2260389643669736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6403288762380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8837878352032929</c:v>
                </c:pt>
                <c:pt idx="3">
                  <c:v>0.171643966262853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5402418694581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963889211453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82234389355893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040239367488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40071337855301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464146646873495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77329752102114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4891354348390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5218122713414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390556886663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6867181605193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452990912804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8512396746636001</c:v>
                </c:pt>
                <c:pt idx="3">
                  <c:v>0.191168411063631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172319219122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41603372774214</c:v>
                </c:pt>
                <c:pt idx="3">
                  <c:v>0.146900773900823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1811366437503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61071614496368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331774394747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98651678203027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243143706630065</c:v>
                </c:pt>
                <c:pt idx="3">
                  <c:v>0.2260389643669736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54520600041259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64032887623804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1240899179411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8837878352032929</c:v>
                </c:pt>
                <c:pt idx="3">
                  <c:v>0.171643966262853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5402418694581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9735928749541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963889211453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040239367488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3161583070723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40071337855301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20224056955712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01051627728278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464146646873495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77329752102114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5218122713414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390556886663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4529909128045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278182311099000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8512396746636001</c:v>
                </c:pt>
                <c:pt idx="3">
                  <c:v>0.191168411063631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918277011759206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172319219122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41603372774214</c:v>
                </c:pt>
                <c:pt idx="3">
                  <c:v>0.1469007739008238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1811366437503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664446774705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4891354348390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6874941686487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515316874752791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515316874752791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4678207581361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822353929807463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849496097085479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1240899179411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6867181605193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20224056955712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48913543483900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753172278244286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515316874752791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9360424563677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4678207581361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3266745843551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849496097085479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61614867691552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1240899179411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70010012274921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20224056955712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695426258605541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511789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34227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640591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64177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37765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078842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821957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92025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89696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269992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59738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474554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35631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90714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3485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7849947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676264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192856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244611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368256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06643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239832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12150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242055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09871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681802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72634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